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7" r:id="rId2"/>
    <p:sldId id="269" r:id="rId3"/>
    <p:sldId id="258" r:id="rId4"/>
    <p:sldId id="303" r:id="rId5"/>
    <p:sldId id="301" r:id="rId6"/>
    <p:sldId id="304" r:id="rId7"/>
    <p:sldId id="302" r:id="rId8"/>
    <p:sldId id="305" r:id="rId9"/>
    <p:sldId id="30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16" userDrawn="1">
          <p15:clr>
            <a:srgbClr val="A4A3A4"/>
          </p15:clr>
        </p15:guide>
        <p15:guide id="2" pos="7256" userDrawn="1">
          <p15:clr>
            <a:srgbClr val="A4A3A4"/>
          </p15:clr>
        </p15:guide>
        <p15:guide id="5" orient="horz" pos="3928" userDrawn="1">
          <p15:clr>
            <a:srgbClr val="A4A3A4"/>
          </p15:clr>
        </p15:guide>
        <p15:guide id="6" orient="horz" pos="38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66" autoAdjust="0"/>
    <p:restoredTop sz="85714" autoAdjust="0"/>
  </p:normalViewPr>
  <p:slideViewPr>
    <p:cSldViewPr snapToGrid="0">
      <p:cViewPr>
        <p:scale>
          <a:sx n="90" d="100"/>
          <a:sy n="90" d="100"/>
        </p:scale>
        <p:origin x="66" y="-78"/>
      </p:cViewPr>
      <p:guideLst>
        <p:guide pos="416"/>
        <p:guide pos="7256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86947B-7171-4F1A-9D79-71B43B5093AE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7B8D87-3ECA-4A7D-A63C-8DC71D4B94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526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163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28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00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郑州火警</a:t>
            </a:r>
            <a:endParaRPr lang="en-US" altLang="zh-CN" dirty="0"/>
          </a:p>
          <a:p>
            <a:r>
              <a:rPr lang="zh-CN" altLang="en-US" dirty="0"/>
              <a:t>值班模块</a:t>
            </a:r>
            <a:endParaRPr lang="en-US" altLang="zh-CN" dirty="0"/>
          </a:p>
          <a:p>
            <a:endParaRPr lang="en-US" dirty="0"/>
          </a:p>
          <a:p>
            <a:r>
              <a:rPr lang="zh-CN" altLang="en-US" dirty="0"/>
              <a:t>舆情</a:t>
            </a:r>
            <a:endParaRPr lang="en-US" altLang="zh-CN" dirty="0"/>
          </a:p>
          <a:p>
            <a:r>
              <a:rPr lang="zh-CN" altLang="en-US" dirty="0"/>
              <a:t>爬虫模块</a:t>
            </a:r>
            <a:endParaRPr lang="en-US" altLang="zh-CN" dirty="0"/>
          </a:p>
          <a:p>
            <a:r>
              <a:rPr lang="zh-CN" altLang="en-US" dirty="0"/>
              <a:t>研判模块</a:t>
            </a:r>
            <a:endParaRPr lang="en-US" altLang="zh-CN" dirty="0"/>
          </a:p>
          <a:p>
            <a:r>
              <a:rPr lang="zh-CN" altLang="en-US" dirty="0"/>
              <a:t>数据库架构与配置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情感分析</a:t>
            </a:r>
            <a:endParaRPr lang="en-US" altLang="zh-CN" dirty="0"/>
          </a:p>
          <a:p>
            <a:r>
              <a:rPr lang="zh-CN" altLang="en-US" dirty="0"/>
              <a:t>爬取数据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学习别人的代码（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 Challenger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比赛</a:t>
            </a:r>
            <a:r>
              <a:rPr lang="zh-CN" altLang="en-US" dirty="0"/>
              <a:t>）</a:t>
            </a:r>
            <a:endParaRPr lang="en-US" altLang="zh-CN" dirty="0"/>
          </a:p>
          <a:p>
            <a:r>
              <a:rPr lang="zh-CN" altLang="en-US" dirty="0"/>
              <a:t>学习有关论文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8884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140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郑州火警项目</a:t>
            </a:r>
            <a:endParaRPr lang="en-US" altLang="zh-CN" dirty="0"/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200" dirty="0">
                <a:latin typeface="+mn-ea"/>
              </a:rPr>
              <a:t>参与到项目的开发当中，知道了如何团队协作</a:t>
            </a:r>
            <a:endParaRPr lang="en-US" altLang="zh-CN" sz="1200" dirty="0">
              <a:latin typeface="+mn-e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lang="zh-CN" altLang="en-US" sz="1200" dirty="0">
                <a:latin typeface="+mn-ea"/>
              </a:rPr>
              <a:t>版本管理工具（</a:t>
            </a:r>
            <a:r>
              <a:rPr lang="en-US" altLang="zh-CN" sz="1200" dirty="0">
                <a:latin typeface="+mn-ea"/>
              </a:rPr>
              <a:t>SVN</a:t>
            </a:r>
            <a:r>
              <a:rPr lang="zh-CN" altLang="en-US" sz="1200" dirty="0">
                <a:latin typeface="+mn-ea"/>
              </a:rPr>
              <a:t>）</a:t>
            </a:r>
            <a:endParaRPr lang="en-US" altLang="zh-CN" sz="12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200" dirty="0">
                <a:latin typeface="+mn-ea"/>
              </a:rPr>
              <a:t>熟练了</a:t>
            </a:r>
            <a:r>
              <a:rPr lang="en-US" altLang="zh-CN" sz="1200" dirty="0">
                <a:latin typeface="+mn-ea"/>
              </a:rPr>
              <a:t>C#</a:t>
            </a:r>
            <a:r>
              <a:rPr lang="zh-CN" altLang="en-US" sz="1200" dirty="0">
                <a:latin typeface="+mn-ea"/>
              </a:rPr>
              <a:t>的使用</a:t>
            </a:r>
            <a:endParaRPr lang="en-US" altLang="zh-CN" sz="12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200" dirty="0">
                <a:latin typeface="+mn-ea"/>
              </a:rPr>
              <a:t>体会到了设计模式的重要性，并学习到了在何时使用什么设计模式</a:t>
            </a:r>
            <a:endParaRPr lang="en-US" altLang="zh-CN" sz="1200" dirty="0">
              <a:latin typeface="+mn-ea"/>
            </a:endParaRPr>
          </a:p>
          <a:p>
            <a:pPr marL="0" indent="0">
              <a:lnSpc>
                <a:spcPct val="130000"/>
              </a:lnSpc>
              <a:buNone/>
            </a:pPr>
            <a:endParaRPr lang="en-US" altLang="zh-CN" sz="1200" dirty="0">
              <a:latin typeface="+mn-ea"/>
            </a:endParaRPr>
          </a:p>
          <a:p>
            <a:r>
              <a:rPr lang="zh-CN" altLang="en-US" dirty="0"/>
              <a:t>舆情项目</a:t>
            </a:r>
            <a:endParaRPr lang="en-US" altLang="zh-CN" dirty="0"/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200" dirty="0">
                <a:latin typeface="+mn-ea"/>
              </a:rPr>
              <a:t>学习了数据库</a:t>
            </a:r>
            <a:r>
              <a:rPr lang="en-US" altLang="zh-CN" sz="1200" dirty="0">
                <a:latin typeface="+mn-ea"/>
              </a:rPr>
              <a:t>Redis</a:t>
            </a:r>
            <a:r>
              <a:rPr lang="zh-CN" altLang="en-US" sz="1200" dirty="0">
                <a:latin typeface="+mn-ea"/>
              </a:rPr>
              <a:t>、</a:t>
            </a:r>
            <a:r>
              <a:rPr lang="en-US" altLang="zh-CN" sz="1200" dirty="0">
                <a:latin typeface="+mn-ea"/>
              </a:rPr>
              <a:t>MongoDB</a:t>
            </a:r>
            <a:r>
              <a:rPr lang="zh-CN" altLang="en-US" sz="1200" dirty="0">
                <a:latin typeface="+mn-ea"/>
              </a:rPr>
              <a:t>的原理、部署与使用</a:t>
            </a:r>
            <a:endParaRPr lang="en-US" altLang="zh-CN" sz="12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en-US" altLang="zh-CN" sz="1200" dirty="0">
                <a:latin typeface="+mn-ea"/>
              </a:rPr>
              <a:t>Supervisor</a:t>
            </a:r>
            <a:r>
              <a:rPr lang="zh-CN" altLang="en-US" sz="1200" dirty="0">
                <a:latin typeface="+mn-ea"/>
              </a:rPr>
              <a:t>工具的使用</a:t>
            </a:r>
            <a:endParaRPr lang="en-US" altLang="zh-CN" sz="12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200" dirty="0">
                <a:latin typeface="+mn-ea"/>
              </a:rPr>
              <a:t>熟练了</a:t>
            </a:r>
            <a:r>
              <a:rPr lang="en-US" altLang="zh-CN" sz="1200" dirty="0">
                <a:latin typeface="+mn-ea"/>
              </a:rPr>
              <a:t>Python</a:t>
            </a:r>
            <a:r>
              <a:rPr lang="zh-CN" altLang="en-US" sz="1200" dirty="0">
                <a:latin typeface="+mn-ea"/>
              </a:rPr>
              <a:t>的使用以及其高级用法</a:t>
            </a:r>
            <a:endParaRPr lang="en-US" altLang="zh-CN" sz="1200" dirty="0">
              <a:latin typeface="+mn-ea"/>
            </a:endParaRPr>
          </a:p>
          <a:p>
            <a:pPr marL="0" indent="0">
              <a:lnSpc>
                <a:spcPct val="130000"/>
              </a:lnSpc>
              <a:buNone/>
            </a:pPr>
            <a:endParaRPr lang="en-US" altLang="zh-CN" sz="12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200" dirty="0">
                <a:latin typeface="+mn-ea"/>
              </a:rPr>
              <a:t>对项目开发的流程有一个大概的认识</a:t>
            </a: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endParaRPr lang="en-US" altLang="zh-CN" sz="1200" dirty="0">
              <a:latin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6795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3675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30000"/>
              </a:lnSpc>
              <a:buNone/>
            </a:pPr>
            <a:endParaRPr lang="en-US" altLang="zh-CN" sz="1200" dirty="0">
              <a:latin typeface="+mn-e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3271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7B8D87-3ECA-4A7D-A63C-8DC71D4B943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762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2D30F-BFD5-4BA0-B35D-1EABDEAF94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284DA4-3A3A-41AE-9431-BDCD6D9E50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9AE515-E69F-48F9-B944-7F12BF6BF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B236BE-0E9D-4E0C-A776-0A430E53A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D5156-E9BD-4155-B21A-B9F50FEAE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406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DC223-EEC3-47E1-A45C-1B8BE0D9C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ABCA63-68F3-4A6B-B823-E35477540D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990625-3A19-4621-818C-6F39BA92C4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3E1D39-20DA-4199-971C-B13EED1A3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BB4174-1373-42EE-8BB2-0F399C778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A0488D-1307-49FF-8537-5D2A14A4D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297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C0E998-4FA1-49D9-9E12-C11C24AA3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C98AED-9D88-4334-8558-CCCDD36361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AFA28B-7B5E-4336-9F38-B98525015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5D63B2-C008-462D-880C-4C23BA3B5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399F4-9E7E-43C3-BEBE-5116C8879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896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3E2715-E8E6-4955-9186-9F9B1D371E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F5DCE4-4DD0-41A2-827B-FFC869ECBB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BE16F0-5247-4019-A6E4-0731DABB6B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521E67-410C-4524-AF6D-334F3FE4F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8C6F01-C8A1-4A79-8D5C-ACE7F7896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784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50" name="图片 9949">
            <a:extLst>
              <a:ext uri="{FF2B5EF4-FFF2-40B4-BE49-F238E27FC236}">
                <a16:creationId xmlns:a16="http://schemas.microsoft.com/office/drawing/2014/main" id="{80DD9FAA-02EC-46EB-81BB-39D87C465E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12223037" cy="6858000"/>
          </a:xfrm>
          <a:prstGeom prst="rect">
            <a:avLst/>
          </a:prstGeom>
        </p:spPr>
      </p:pic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294D98D6-DA3E-42D0-934E-0817D7D5B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294D98D6-DA3E-42D0-934E-0817D7D5B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B0737454-4F17-4986-BB54-BF023699DC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i="0" baseline="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551020" y="3118305"/>
            <a:ext cx="9058924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551020" y="2191203"/>
            <a:ext cx="9058924" cy="698591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551020" y="4388102"/>
            <a:ext cx="905892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551020" y="4684373"/>
            <a:ext cx="905892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40469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图片 109">
            <a:extLst>
              <a:ext uri="{FF2B5EF4-FFF2-40B4-BE49-F238E27FC236}">
                <a16:creationId xmlns:a16="http://schemas.microsoft.com/office/drawing/2014/main" id="{A5749873-F717-437F-A73C-B6B1F22057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67969">
            <a:off x="-749300" y="-482600"/>
            <a:ext cx="13665200" cy="7797800"/>
          </a:xfrm>
          <a:prstGeom prst="rect">
            <a:avLst/>
          </a:prstGeom>
        </p:spPr>
      </p:pic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64A7253F-30A1-40BF-91BB-403F4180D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64A7253F-30A1-40BF-91BB-403F4180D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 hidden="1">
            <a:extLst>
              <a:ext uri="{FF2B5EF4-FFF2-40B4-BE49-F238E27FC236}">
                <a16:creationId xmlns:a16="http://schemas.microsoft.com/office/drawing/2014/main" id="{20D9F104-29C4-45E6-ADF0-08132A9DF5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b="1" i="0" baseline="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/>
          </p:nvPr>
        </p:nvSpPr>
        <p:spPr>
          <a:xfrm>
            <a:off x="2908239" y="2735279"/>
            <a:ext cx="6375522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/>
          </p:nvPr>
        </p:nvSpPr>
        <p:spPr>
          <a:xfrm>
            <a:off x="2908239" y="3630629"/>
            <a:ext cx="6375522" cy="1015623"/>
          </a:xfrm>
        </p:spPr>
        <p:txBody>
          <a:bodyPr anchor="t">
            <a:normAutofit/>
          </a:bodyPr>
          <a:lstStyle>
            <a:lvl1pPr marL="0" indent="0" algn="ctr"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3572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图片 109">
            <a:extLst>
              <a:ext uri="{FF2B5EF4-FFF2-40B4-BE49-F238E27FC236}">
                <a16:creationId xmlns:a16="http://schemas.microsoft.com/office/drawing/2014/main" id="{A5749873-F717-437F-A73C-B6B1F22057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636797">
            <a:off x="-749300" y="-482600"/>
            <a:ext cx="13665200" cy="7797800"/>
          </a:xfrm>
          <a:prstGeom prst="rect">
            <a:avLst/>
          </a:prstGeom>
        </p:spPr>
      </p:pic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64A7253F-30A1-40BF-91BB-403F4180D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64A7253F-30A1-40BF-91BB-403F4180D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 hidden="1">
            <a:extLst>
              <a:ext uri="{FF2B5EF4-FFF2-40B4-BE49-F238E27FC236}">
                <a16:creationId xmlns:a16="http://schemas.microsoft.com/office/drawing/2014/main" id="{20D9F104-29C4-45E6-ADF0-08132A9DF5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b="1" i="0" baseline="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/>
          </p:nvPr>
        </p:nvSpPr>
        <p:spPr>
          <a:xfrm>
            <a:off x="2908239" y="2735279"/>
            <a:ext cx="6375522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/>
          </p:nvPr>
        </p:nvSpPr>
        <p:spPr>
          <a:xfrm>
            <a:off x="2908239" y="3630629"/>
            <a:ext cx="6375522" cy="1015623"/>
          </a:xfrm>
        </p:spPr>
        <p:txBody>
          <a:bodyPr anchor="t">
            <a:normAutofit/>
          </a:bodyPr>
          <a:lstStyle>
            <a:lvl1pPr marL="0" indent="0" algn="ctr"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7547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66C62-508C-4AE2-91B5-CA1043C27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308F90-33AD-4F0A-8A5C-7677D6BB63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4E90B-D5D7-4053-BC4D-D263E46CD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DA6EAD-DEA1-466D-B9C7-2E491CEF1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06AE73-F5B6-4230-97E0-7FD847A29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437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A0986-A5C6-424A-8B6F-491773BFA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F1F2FD-12CC-4693-BA11-BFB8A902B6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1D011-7C8B-465B-8E2A-C1EE628D1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3A458F-3475-4215-A467-47E2A1D19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87DEF5-82A4-4472-9968-9736F89C1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498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12A19-A388-43FE-BBBA-08E711D23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FE7269-87A3-4344-B34E-7A3EBADD62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FBDB91-91C3-4D66-B476-15D30AECC5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EE2DC3-FEC0-46C6-BC32-776192602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217504-AF4A-443E-B995-1E56F9A496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E448DC-EE57-416D-8DCE-82F9E343E1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930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A4FC3-23B6-445D-81F1-88CDF297F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7078A2-DE83-4475-B5CF-FC5F40D3EF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C336D4-F952-4FDD-9AE3-70B715C720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B140B7-CA69-42AF-81D7-66E70D40E8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F2332C-A30C-438F-BBFB-D87761A03E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2CE907-85B3-4E0B-9BE8-FFD0FC12F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660772-EF9B-4882-AF03-90AE6EB32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F77443-66E9-411C-A394-A2144C16F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562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B1D7A-C6AD-4752-BBBC-24BB20068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343FA-F521-4F8D-866F-6E677B4AB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AEC993-321E-44F3-9C37-C1AFA552A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775498-58D3-4EF0-8850-15828BF32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588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B1D7A-C6AD-4752-BBBC-24BB20068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343FA-F521-4F8D-866F-6E677B4AB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AEC993-321E-44F3-9C37-C1AFA552A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775498-58D3-4EF0-8850-15828BF32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图片 7">
            <a:extLst>
              <a:ext uri="{FF2B5EF4-FFF2-40B4-BE49-F238E27FC236}">
                <a16:creationId xmlns:a16="http://schemas.microsoft.com/office/drawing/2014/main" id="{39AC8333-FAC5-4A13-BCBB-3323A8140C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2" r="1959" b="29470"/>
          <a:stretch/>
        </p:blipFill>
        <p:spPr>
          <a:xfrm>
            <a:off x="0" y="6076604"/>
            <a:ext cx="12192000" cy="7871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60A3904-0FBD-401F-8BAE-0EF084C767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53" r="1959" b="29470"/>
          <a:stretch/>
        </p:blipFill>
        <p:spPr>
          <a:xfrm rot="10951998">
            <a:off x="-23352" y="-474969"/>
            <a:ext cx="12221854" cy="132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143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9EC13F-1744-405F-9461-3C4378F3A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023E11-EEE3-4DE9-A33A-08A36FAE7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93344C-EF5C-41E3-92B3-7DBBD57AD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4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EA0C2D-ADCC-43F2-B2F7-0E5BC2BE5F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8093EF-FFE1-4ED6-9C01-F66D7C6E1F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EB1678-7968-4213-A56B-B9860F16B6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78F798-7262-495A-87AD-841B400EF0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6666A6-2E82-42B7-862E-F42C4D694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2C7A24-4540-4A5C-B1F1-87FAFCE67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826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8C8BBF-C2E3-4D3F-80C1-571E10CAF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B8E43F-10B9-4171-93E7-1B17859466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27074E-F63D-4202-9354-C950DA42C9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1163D9-A0B2-4CA0-A9F1-16279BE0F0F9}" type="datetimeFigureOut">
              <a:rPr lang="en-US" smtClean="0"/>
              <a:t>01/1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D96DF1-F7F4-4EAB-A2BF-64222BFD15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89EC77-B6CF-4213-9A2A-497CA407E4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6513D7-366C-4756-8AA7-4060BF9470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535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62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8D1CB65-F218-4AD3-8485-2B8F483505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8D1CB65-F218-4AD3-8485-2B8F48350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0334B65C-B294-47D3-A9DC-E74A71DFD8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551020" y="3267774"/>
            <a:ext cx="9058924" cy="558799"/>
          </a:xfrm>
        </p:spPr>
        <p:txBody>
          <a:bodyPr/>
          <a:lstStyle/>
          <a:p>
            <a:r>
              <a:rPr lang="en-US" altLang="zh-CN" dirty="0"/>
              <a:t>2018/09 - 2018/12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551020" y="2083777"/>
            <a:ext cx="9058924" cy="1183997"/>
          </a:xfrm>
        </p:spPr>
        <p:txBody>
          <a:bodyPr/>
          <a:lstStyle/>
          <a:p>
            <a:r>
              <a:rPr lang="en-US" altLang="zh-CN" sz="4000" dirty="0">
                <a:latin typeface="+mn-ea"/>
                <a:ea typeface="+mn-ea"/>
              </a:rPr>
              <a:t>2018</a:t>
            </a:r>
            <a:r>
              <a:rPr lang="zh-CN" altLang="en-US" sz="4000" dirty="0">
                <a:latin typeface="+mn-ea"/>
                <a:ea typeface="+mn-ea"/>
              </a:rPr>
              <a:t>年终汇报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CD5889-ECDB-42BC-BCE5-5D2C22ECB8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019/01/1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C9E1689-0884-4392-980B-0484B807D9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张鼎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楷体" panose="02010609060101010101" pitchFamily="49" charset="-122"/>
                    <a:ea typeface="楷体" panose="02010609060101010101" pitchFamily="49" charset="-122"/>
                    <a:sym typeface="+mn-lt"/>
                  </a:rPr>
                  <a:t>工作回顾</a:t>
                </a:r>
                <a:endParaRPr lang="en-US" altLang="zh-CN" sz="2400" b="0" dirty="0">
                  <a:latin typeface="楷体" panose="02010609060101010101" pitchFamily="49" charset="-122"/>
                  <a:ea typeface="楷体" panose="02010609060101010101" pitchFamily="49" charset="-122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楷体" panose="02010609060101010101" pitchFamily="49" charset="-122"/>
                    <a:ea typeface="楷体" panose="02010609060101010101" pitchFamily="49" charset="-122"/>
                    <a:sym typeface="+mn-lt"/>
                  </a:rPr>
                  <a:t>学习总结</a:t>
                </a:r>
                <a:endParaRPr lang="en-US" altLang="zh-CN" sz="2400" b="0" dirty="0">
                  <a:latin typeface="楷体" panose="02010609060101010101" pitchFamily="49" charset="-122"/>
                  <a:ea typeface="楷体" panose="02010609060101010101" pitchFamily="49" charset="-122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楷体" panose="02010609060101010101" pitchFamily="49" charset="-122"/>
                    <a:ea typeface="楷体" panose="02010609060101010101" pitchFamily="49" charset="-122"/>
                    <a:sym typeface="+mn-lt"/>
                  </a:rPr>
                  <a:t>新年计划</a:t>
                </a:r>
                <a:endParaRPr lang="en-US" altLang="zh-CN" sz="2400" b="0" dirty="0">
                  <a:latin typeface="楷体" panose="02010609060101010101" pitchFamily="49" charset="-122"/>
                  <a:ea typeface="楷体" panose="02010609060101010101" pitchFamily="49" charset="-122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2400" b="0" dirty="0">
                  <a:latin typeface="楷体" panose="02010609060101010101" pitchFamily="49" charset="-122"/>
                  <a:ea typeface="楷体" panose="02010609060101010101" pitchFamily="49" charset="-122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300">
        <p14:pan dir="u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91FD4C95-4A35-4986-A123-341B85C1B1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91FD4C95-4A35-4986-A123-341B85C1B1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C4BEF1BE-C90A-41FC-840A-564E1D00FD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908239" y="3078632"/>
            <a:ext cx="6375522" cy="895350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latin typeface="楷体" panose="02010609060101010101" pitchFamily="49" charset="-122"/>
                <a:ea typeface="楷体" panose="02010609060101010101" pitchFamily="49" charset="-122"/>
              </a:rPr>
              <a:t>工作回顾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3DD1E421-BF85-430B-B9CB-4C2487A56DC2}"/>
              </a:ext>
            </a:extLst>
          </p:cNvPr>
          <p:cNvSpPr txBox="1"/>
          <p:nvPr/>
        </p:nvSpPr>
        <p:spPr>
          <a:xfrm>
            <a:off x="5584242" y="21887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ageCurlSingle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E2612-A5BF-405B-ADA8-799C802E4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9070" y="365125"/>
            <a:ext cx="10024730" cy="1325563"/>
          </a:xfrm>
        </p:spPr>
        <p:txBody>
          <a:bodyPr/>
          <a:lstStyle/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工作回顾</a:t>
            </a:r>
            <a:endParaRPr 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grpSp>
        <p:nvGrpSpPr>
          <p:cNvPr id="69" name="24938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076C870-9D30-4FCE-B98A-05A9A6DE45E5}"/>
              </a:ext>
            </a:extLst>
          </p:cNvPr>
          <p:cNvGrpSpPr>
            <a:grpSpLocks noChangeAspect="1"/>
          </p:cNvGrpSpPr>
          <p:nvPr/>
        </p:nvGrpSpPr>
        <p:grpSpPr>
          <a:xfrm>
            <a:off x="626882" y="1778591"/>
            <a:ext cx="8172420" cy="4065830"/>
            <a:chOff x="-2041673" y="1629301"/>
            <a:chExt cx="8172420" cy="4065830"/>
          </a:xfrm>
        </p:grpSpPr>
        <p:sp>
          <p:nvSpPr>
            <p:cNvPr id="70" name="íşľídé">
              <a:extLst>
                <a:ext uri="{FF2B5EF4-FFF2-40B4-BE49-F238E27FC236}">
                  <a16:creationId xmlns:a16="http://schemas.microsoft.com/office/drawing/2014/main" id="{EA4DADE7-C5F9-4477-9D18-500496D23C3F}"/>
                </a:ext>
              </a:extLst>
            </p:cNvPr>
            <p:cNvSpPr/>
            <p:nvPr/>
          </p:nvSpPr>
          <p:spPr>
            <a:xfrm rot="5400000">
              <a:off x="-2041673" y="1629301"/>
              <a:ext cx="4018496" cy="4018496"/>
            </a:xfrm>
            <a:prstGeom prst="blockArc">
              <a:avLst>
                <a:gd name="adj1" fmla="val 12906221"/>
                <a:gd name="adj2" fmla="val 19379123"/>
                <a:gd name="adj3" fmla="val 7527"/>
              </a:avLst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5425" indent="-225425"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0">
                <a:solidFill>
                  <a:prstClr val="black"/>
                </a:solidFill>
              </a:endParaRPr>
            </a:p>
          </p:txBody>
        </p:sp>
        <p:sp>
          <p:nvSpPr>
            <p:cNvPr id="71" name="îṧḷîďe">
              <a:extLst>
                <a:ext uri="{FF2B5EF4-FFF2-40B4-BE49-F238E27FC236}">
                  <a16:creationId xmlns:a16="http://schemas.microsoft.com/office/drawing/2014/main" id="{FBE20906-0C49-4B2E-A624-4A8CCFE046E3}"/>
                </a:ext>
              </a:extLst>
            </p:cNvPr>
            <p:cNvSpPr/>
            <p:nvPr/>
          </p:nvSpPr>
          <p:spPr>
            <a:xfrm>
              <a:off x="690941" y="1713269"/>
              <a:ext cx="730204" cy="73020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25425"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72" name="îśḻíḓe">
              <a:extLst>
                <a:ext uri="{FF2B5EF4-FFF2-40B4-BE49-F238E27FC236}">
                  <a16:creationId xmlns:a16="http://schemas.microsoft.com/office/drawing/2014/main" id="{25D0CD02-EBD9-4230-A5FC-CB3FE4D31FE2}"/>
                </a:ext>
              </a:extLst>
            </p:cNvPr>
            <p:cNvSpPr txBox="1"/>
            <p:nvPr/>
          </p:nvSpPr>
          <p:spPr>
            <a:xfrm>
              <a:off x="2428759" y="2078371"/>
              <a:ext cx="3701988" cy="65366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40000"/>
                </a:lnSpc>
              </a:pPr>
              <a:r>
                <a:rPr lang="zh-CN" altLang="en-US" sz="1400" dirty="0">
                  <a:solidFill>
                    <a:schemeClr val="dk1">
                      <a:lumMod val="100000"/>
                    </a:schemeClr>
                  </a:solidFill>
                </a:rPr>
                <a:t>根据对方需求，完成了值班模块的编写。</a:t>
              </a:r>
              <a:endParaRPr lang="en-US" altLang="zh-CN" sz="14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73" name="ïṡlïḑê">
              <a:extLst>
                <a:ext uri="{FF2B5EF4-FFF2-40B4-BE49-F238E27FC236}">
                  <a16:creationId xmlns:a16="http://schemas.microsoft.com/office/drawing/2014/main" id="{CA2301DA-EB82-4F9D-A4C5-75CAFBCA103B}"/>
                </a:ext>
              </a:extLst>
            </p:cNvPr>
            <p:cNvSpPr txBox="1"/>
            <p:nvPr/>
          </p:nvSpPr>
          <p:spPr>
            <a:xfrm>
              <a:off x="2428759" y="1738105"/>
              <a:ext cx="3701988" cy="34026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000" b="1" dirty="0">
                  <a:solidFill>
                    <a:schemeClr val="dk1">
                      <a:lumMod val="100000"/>
                    </a:schemeClr>
                  </a:solidFill>
                </a:rPr>
                <a:t>郑州火警项目</a:t>
              </a:r>
            </a:p>
          </p:txBody>
        </p:sp>
        <p:sp>
          <p:nvSpPr>
            <p:cNvPr id="74" name="íS1îďé">
              <a:extLst>
                <a:ext uri="{FF2B5EF4-FFF2-40B4-BE49-F238E27FC236}">
                  <a16:creationId xmlns:a16="http://schemas.microsoft.com/office/drawing/2014/main" id="{86B44701-DC5D-4414-9077-CD44C3322165}"/>
                </a:ext>
              </a:extLst>
            </p:cNvPr>
            <p:cNvSpPr/>
            <p:nvPr/>
          </p:nvSpPr>
          <p:spPr>
            <a:xfrm>
              <a:off x="1522803" y="3260134"/>
              <a:ext cx="730204" cy="73020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25425"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75" name="îṩlîḓè">
              <a:extLst>
                <a:ext uri="{FF2B5EF4-FFF2-40B4-BE49-F238E27FC236}">
                  <a16:creationId xmlns:a16="http://schemas.microsoft.com/office/drawing/2014/main" id="{F5273BC3-400A-4B21-878A-B6D7AC82D5A3}"/>
                </a:ext>
              </a:extLst>
            </p:cNvPr>
            <p:cNvSpPr txBox="1"/>
            <p:nvPr/>
          </p:nvSpPr>
          <p:spPr>
            <a:xfrm>
              <a:off x="2428759" y="3465218"/>
              <a:ext cx="3701988" cy="65366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40000"/>
                </a:lnSpc>
              </a:pPr>
              <a:r>
                <a:rPr lang="zh-CN" altLang="en-US" sz="1400" dirty="0">
                  <a:solidFill>
                    <a:schemeClr val="dk1">
                      <a:lumMod val="100000"/>
                    </a:schemeClr>
                  </a:solidFill>
                </a:rPr>
                <a:t>学习项目里的代码、需求与维护等</a:t>
              </a:r>
              <a:endParaRPr lang="en-US" altLang="zh-CN" sz="1400" dirty="0">
                <a:solidFill>
                  <a:schemeClr val="dk1">
                    <a:lumMod val="100000"/>
                  </a:schemeClr>
                </a:solidFill>
              </a:endParaRPr>
            </a:p>
            <a:p>
              <a:pPr>
                <a:lnSpc>
                  <a:spcPct val="140000"/>
                </a:lnSpc>
              </a:pPr>
              <a:r>
                <a:rPr lang="zh-CN" altLang="en-US" sz="1400" dirty="0">
                  <a:solidFill>
                    <a:schemeClr val="dk1">
                      <a:lumMod val="100000"/>
                    </a:schemeClr>
                  </a:solidFill>
                </a:rPr>
                <a:t>逐渐从学长手里接手项目</a:t>
              </a:r>
              <a:endParaRPr lang="en-US" altLang="zh-CN" sz="14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76" name="îšḻîḍê">
              <a:extLst>
                <a:ext uri="{FF2B5EF4-FFF2-40B4-BE49-F238E27FC236}">
                  <a16:creationId xmlns:a16="http://schemas.microsoft.com/office/drawing/2014/main" id="{F6D19478-89B9-4E78-8B3F-99B2DDA890E1}"/>
                </a:ext>
              </a:extLst>
            </p:cNvPr>
            <p:cNvSpPr txBox="1"/>
            <p:nvPr/>
          </p:nvSpPr>
          <p:spPr>
            <a:xfrm>
              <a:off x="2428759" y="3124952"/>
              <a:ext cx="3701988" cy="34026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000" b="1" dirty="0">
                  <a:solidFill>
                    <a:schemeClr val="dk1">
                      <a:lumMod val="100000"/>
                    </a:schemeClr>
                  </a:solidFill>
                </a:rPr>
                <a:t>舆情项目</a:t>
              </a:r>
            </a:p>
          </p:txBody>
        </p:sp>
        <p:sp>
          <p:nvSpPr>
            <p:cNvPr id="77" name="í$ľíḍé">
              <a:extLst>
                <a:ext uri="{FF2B5EF4-FFF2-40B4-BE49-F238E27FC236}">
                  <a16:creationId xmlns:a16="http://schemas.microsoft.com/office/drawing/2014/main" id="{7C28A4EC-2D76-4BCF-90B8-F5078F6460CF}"/>
                </a:ext>
              </a:extLst>
            </p:cNvPr>
            <p:cNvSpPr/>
            <p:nvPr/>
          </p:nvSpPr>
          <p:spPr>
            <a:xfrm>
              <a:off x="690941" y="4806999"/>
              <a:ext cx="730204" cy="73020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25425" algn="ctr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78" name="íṣḻíďé">
              <a:extLst>
                <a:ext uri="{FF2B5EF4-FFF2-40B4-BE49-F238E27FC236}">
                  <a16:creationId xmlns:a16="http://schemas.microsoft.com/office/drawing/2014/main" id="{3855513D-AE3E-44BB-9D29-F7C8D368E203}"/>
                </a:ext>
              </a:extLst>
            </p:cNvPr>
            <p:cNvSpPr txBox="1"/>
            <p:nvPr/>
          </p:nvSpPr>
          <p:spPr>
            <a:xfrm>
              <a:off x="2428759" y="5041467"/>
              <a:ext cx="3701988" cy="65366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40000"/>
                </a:lnSpc>
              </a:pPr>
              <a:r>
                <a:rPr lang="zh-CN" altLang="en-US" sz="1400" dirty="0">
                  <a:solidFill>
                    <a:schemeClr val="dk1">
                      <a:lumMod val="100000"/>
                    </a:schemeClr>
                  </a:solidFill>
                </a:rPr>
                <a:t>爬取各大网站的买家评论</a:t>
              </a:r>
              <a:endParaRPr lang="en-US" altLang="zh-CN" sz="1400" dirty="0">
                <a:solidFill>
                  <a:schemeClr val="dk1">
                    <a:lumMod val="100000"/>
                  </a:schemeClr>
                </a:solidFill>
              </a:endParaRPr>
            </a:p>
            <a:p>
              <a:pPr>
                <a:lnSpc>
                  <a:spcPct val="140000"/>
                </a:lnSpc>
              </a:pPr>
              <a:r>
                <a:rPr lang="zh-CN" altLang="en-US" sz="1400" dirty="0">
                  <a:solidFill>
                    <a:schemeClr val="dk1">
                      <a:lumMod val="100000"/>
                    </a:schemeClr>
                  </a:solidFill>
                </a:rPr>
                <a:t>学习此方面有关的论文、框架</a:t>
              </a:r>
              <a:endParaRPr lang="en-US" altLang="zh-CN" sz="14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79" name="iśľîďê">
              <a:extLst>
                <a:ext uri="{FF2B5EF4-FFF2-40B4-BE49-F238E27FC236}">
                  <a16:creationId xmlns:a16="http://schemas.microsoft.com/office/drawing/2014/main" id="{08F8BC16-60CB-42B9-858C-42295FFD4424}"/>
                </a:ext>
              </a:extLst>
            </p:cNvPr>
            <p:cNvSpPr txBox="1"/>
            <p:nvPr/>
          </p:nvSpPr>
          <p:spPr>
            <a:xfrm>
              <a:off x="2428759" y="4701201"/>
              <a:ext cx="3701988" cy="34026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000" b="1" dirty="0">
                  <a:solidFill>
                    <a:schemeClr val="dk1">
                      <a:lumMod val="100000"/>
                    </a:schemeClr>
                  </a:solidFill>
                </a:rPr>
                <a:t>情感分析</a:t>
              </a:r>
            </a:p>
          </p:txBody>
        </p:sp>
        <p:cxnSp>
          <p:nvCxnSpPr>
            <p:cNvPr id="80" name="直接连接符 9">
              <a:extLst>
                <a:ext uri="{FF2B5EF4-FFF2-40B4-BE49-F238E27FC236}">
                  <a16:creationId xmlns:a16="http://schemas.microsoft.com/office/drawing/2014/main" id="{6503D700-BC62-4597-8013-7EFD50B2CD40}"/>
                </a:ext>
              </a:extLst>
            </p:cNvPr>
            <p:cNvCxnSpPr>
              <a:cxnSpLocks/>
            </p:cNvCxnSpPr>
            <p:nvPr/>
          </p:nvCxnSpPr>
          <p:spPr>
            <a:xfrm>
              <a:off x="1976823" y="2851804"/>
              <a:ext cx="411917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直接连接符 10">
              <a:extLst>
                <a:ext uri="{FF2B5EF4-FFF2-40B4-BE49-F238E27FC236}">
                  <a16:creationId xmlns:a16="http://schemas.microsoft.com/office/drawing/2014/main" id="{004FDC19-0B46-40B0-B946-C16A7F106FED}"/>
                </a:ext>
              </a:extLst>
            </p:cNvPr>
            <p:cNvCxnSpPr>
              <a:cxnSpLocks/>
            </p:cNvCxnSpPr>
            <p:nvPr/>
          </p:nvCxnSpPr>
          <p:spPr>
            <a:xfrm>
              <a:off x="1976823" y="4398669"/>
              <a:ext cx="411917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îşḻidè">
              <a:extLst>
                <a:ext uri="{FF2B5EF4-FFF2-40B4-BE49-F238E27FC236}">
                  <a16:creationId xmlns:a16="http://schemas.microsoft.com/office/drawing/2014/main" id="{D875A482-065F-4924-AFB4-70DFFD77AE24}"/>
                </a:ext>
              </a:extLst>
            </p:cNvPr>
            <p:cNvSpPr/>
            <p:nvPr/>
          </p:nvSpPr>
          <p:spPr>
            <a:xfrm>
              <a:off x="828293" y="1859339"/>
              <a:ext cx="455499" cy="438063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83" name="ïSļîḑê">
              <a:extLst>
                <a:ext uri="{FF2B5EF4-FFF2-40B4-BE49-F238E27FC236}">
                  <a16:creationId xmlns:a16="http://schemas.microsoft.com/office/drawing/2014/main" id="{716D84BB-67EF-4897-ADCC-3DF6DEE444F8}"/>
                </a:ext>
              </a:extLst>
            </p:cNvPr>
            <p:cNvSpPr/>
            <p:nvPr/>
          </p:nvSpPr>
          <p:spPr>
            <a:xfrm>
              <a:off x="1660155" y="3406204"/>
              <a:ext cx="455499" cy="438063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84" name="í$ḻíḑè">
              <a:extLst>
                <a:ext uri="{FF2B5EF4-FFF2-40B4-BE49-F238E27FC236}">
                  <a16:creationId xmlns:a16="http://schemas.microsoft.com/office/drawing/2014/main" id="{AF08CE6F-A40D-40D3-96B6-F6DA15CAE4BE}"/>
                </a:ext>
              </a:extLst>
            </p:cNvPr>
            <p:cNvSpPr/>
            <p:nvPr/>
          </p:nvSpPr>
          <p:spPr>
            <a:xfrm>
              <a:off x="828293" y="4951202"/>
              <a:ext cx="455500" cy="438968"/>
            </a:xfrm>
            <a:custGeom>
              <a:avLst/>
              <a:gdLst>
                <a:gd name="connsiteX0" fmla="*/ 62032 w 596327"/>
                <a:gd name="connsiteY0" fmla="*/ 471572 h 574685"/>
                <a:gd name="connsiteX1" fmla="*/ 47689 w 596327"/>
                <a:gd name="connsiteY1" fmla="*/ 485893 h 574685"/>
                <a:gd name="connsiteX2" fmla="*/ 47689 w 596327"/>
                <a:gd name="connsiteY2" fmla="*/ 512746 h 574685"/>
                <a:gd name="connsiteX3" fmla="*/ 62032 w 596327"/>
                <a:gd name="connsiteY3" fmla="*/ 527067 h 574685"/>
                <a:gd name="connsiteX4" fmla="*/ 422752 w 596327"/>
                <a:gd name="connsiteY4" fmla="*/ 527067 h 574685"/>
                <a:gd name="connsiteX5" fmla="*/ 421676 w 596327"/>
                <a:gd name="connsiteY5" fmla="*/ 471572 h 574685"/>
                <a:gd name="connsiteX6" fmla="*/ 146647 w 596327"/>
                <a:gd name="connsiteY6" fmla="*/ 334057 h 574685"/>
                <a:gd name="connsiteX7" fmla="*/ 176754 w 596327"/>
                <a:gd name="connsiteY7" fmla="*/ 334057 h 574685"/>
                <a:gd name="connsiteX8" fmla="*/ 191091 w 596327"/>
                <a:gd name="connsiteY8" fmla="*/ 349090 h 574685"/>
                <a:gd name="connsiteX9" fmla="*/ 191091 w 596327"/>
                <a:gd name="connsiteY9" fmla="*/ 379156 h 574685"/>
                <a:gd name="connsiteX10" fmla="*/ 176754 w 596327"/>
                <a:gd name="connsiteY10" fmla="*/ 393473 h 574685"/>
                <a:gd name="connsiteX11" fmla="*/ 146647 w 596327"/>
                <a:gd name="connsiteY11" fmla="*/ 393473 h 574685"/>
                <a:gd name="connsiteX12" fmla="*/ 132310 w 596327"/>
                <a:gd name="connsiteY12" fmla="*/ 379156 h 574685"/>
                <a:gd name="connsiteX13" fmla="*/ 132310 w 596327"/>
                <a:gd name="connsiteY13" fmla="*/ 348374 h 574685"/>
                <a:gd name="connsiteX14" fmla="*/ 146647 w 596327"/>
                <a:gd name="connsiteY14" fmla="*/ 334057 h 574685"/>
                <a:gd name="connsiteX15" fmla="*/ 371842 w 596327"/>
                <a:gd name="connsiteY15" fmla="*/ 269241 h 574685"/>
                <a:gd name="connsiteX16" fmla="*/ 364671 w 596327"/>
                <a:gd name="connsiteY16" fmla="*/ 276401 h 574685"/>
                <a:gd name="connsiteX17" fmla="*/ 364671 w 596327"/>
                <a:gd name="connsiteY17" fmla="*/ 284994 h 574685"/>
                <a:gd name="connsiteX18" fmla="*/ 371842 w 596327"/>
                <a:gd name="connsiteY18" fmla="*/ 292155 h 574685"/>
                <a:gd name="connsiteX19" fmla="*/ 434953 w 596327"/>
                <a:gd name="connsiteY19" fmla="*/ 292155 h 574685"/>
                <a:gd name="connsiteX20" fmla="*/ 483003 w 596327"/>
                <a:gd name="connsiteY20" fmla="*/ 292155 h 574685"/>
                <a:gd name="connsiteX21" fmla="*/ 536431 w 596327"/>
                <a:gd name="connsiteY21" fmla="*/ 292155 h 574685"/>
                <a:gd name="connsiteX22" fmla="*/ 536072 w 596327"/>
                <a:gd name="connsiteY22" fmla="*/ 269241 h 574685"/>
                <a:gd name="connsiteX23" fmla="*/ 483003 w 596327"/>
                <a:gd name="connsiteY23" fmla="*/ 269241 h 574685"/>
                <a:gd name="connsiteX24" fmla="*/ 434953 w 596327"/>
                <a:gd name="connsiteY24" fmla="*/ 269241 h 574685"/>
                <a:gd name="connsiteX25" fmla="*/ 146647 w 596327"/>
                <a:gd name="connsiteY25" fmla="*/ 230961 h 574685"/>
                <a:gd name="connsiteX26" fmla="*/ 176754 w 596327"/>
                <a:gd name="connsiteY26" fmla="*/ 230961 h 574685"/>
                <a:gd name="connsiteX27" fmla="*/ 191091 w 596327"/>
                <a:gd name="connsiteY27" fmla="*/ 245281 h 574685"/>
                <a:gd name="connsiteX28" fmla="*/ 191091 w 596327"/>
                <a:gd name="connsiteY28" fmla="*/ 275352 h 574685"/>
                <a:gd name="connsiteX29" fmla="*/ 176754 w 596327"/>
                <a:gd name="connsiteY29" fmla="*/ 289671 h 574685"/>
                <a:gd name="connsiteX30" fmla="*/ 146647 w 596327"/>
                <a:gd name="connsiteY30" fmla="*/ 289671 h 574685"/>
                <a:gd name="connsiteX31" fmla="*/ 132310 w 596327"/>
                <a:gd name="connsiteY31" fmla="*/ 275352 h 574685"/>
                <a:gd name="connsiteX32" fmla="*/ 132310 w 596327"/>
                <a:gd name="connsiteY32" fmla="*/ 245281 h 574685"/>
                <a:gd name="connsiteX33" fmla="*/ 146647 w 596327"/>
                <a:gd name="connsiteY33" fmla="*/ 230961 h 574685"/>
                <a:gd name="connsiteX34" fmla="*/ 420248 w 596327"/>
                <a:gd name="connsiteY34" fmla="*/ 175073 h 574685"/>
                <a:gd name="connsiteX35" fmla="*/ 434920 w 596327"/>
                <a:gd name="connsiteY35" fmla="*/ 175073 h 574685"/>
                <a:gd name="connsiteX36" fmla="*/ 435636 w 596327"/>
                <a:gd name="connsiteY36" fmla="*/ 175073 h 574685"/>
                <a:gd name="connsiteX37" fmla="*/ 443151 w 596327"/>
                <a:gd name="connsiteY37" fmla="*/ 182232 h 574685"/>
                <a:gd name="connsiteX38" fmla="*/ 443151 w 596327"/>
                <a:gd name="connsiteY38" fmla="*/ 197623 h 574685"/>
                <a:gd name="connsiteX39" fmla="*/ 435994 w 596327"/>
                <a:gd name="connsiteY39" fmla="*/ 204781 h 574685"/>
                <a:gd name="connsiteX40" fmla="*/ 434920 w 596327"/>
                <a:gd name="connsiteY40" fmla="*/ 204781 h 574685"/>
                <a:gd name="connsiteX41" fmla="*/ 420248 w 596327"/>
                <a:gd name="connsiteY41" fmla="*/ 204781 h 574685"/>
                <a:gd name="connsiteX42" fmla="*/ 413090 w 596327"/>
                <a:gd name="connsiteY42" fmla="*/ 197623 h 574685"/>
                <a:gd name="connsiteX43" fmla="*/ 413090 w 596327"/>
                <a:gd name="connsiteY43" fmla="*/ 182232 h 574685"/>
                <a:gd name="connsiteX44" fmla="*/ 420248 w 596327"/>
                <a:gd name="connsiteY44" fmla="*/ 175073 h 574685"/>
                <a:gd name="connsiteX45" fmla="*/ 146647 w 596327"/>
                <a:gd name="connsiteY45" fmla="*/ 127441 h 574685"/>
                <a:gd name="connsiteX46" fmla="*/ 176754 w 596327"/>
                <a:gd name="connsiteY46" fmla="*/ 127441 h 574685"/>
                <a:gd name="connsiteX47" fmla="*/ 191091 w 596327"/>
                <a:gd name="connsiteY47" fmla="*/ 141778 h 574685"/>
                <a:gd name="connsiteX48" fmla="*/ 191091 w 596327"/>
                <a:gd name="connsiteY48" fmla="*/ 171885 h 574685"/>
                <a:gd name="connsiteX49" fmla="*/ 176754 w 596327"/>
                <a:gd name="connsiteY49" fmla="*/ 186222 h 574685"/>
                <a:gd name="connsiteX50" fmla="*/ 146647 w 596327"/>
                <a:gd name="connsiteY50" fmla="*/ 186222 h 574685"/>
                <a:gd name="connsiteX51" fmla="*/ 132310 w 596327"/>
                <a:gd name="connsiteY51" fmla="*/ 171885 h 574685"/>
                <a:gd name="connsiteX52" fmla="*/ 132310 w 596327"/>
                <a:gd name="connsiteY52" fmla="*/ 141778 h 574685"/>
                <a:gd name="connsiteX53" fmla="*/ 146647 w 596327"/>
                <a:gd name="connsiteY53" fmla="*/ 127441 h 574685"/>
                <a:gd name="connsiteX54" fmla="*/ 420248 w 596327"/>
                <a:gd name="connsiteY54" fmla="*/ 117421 h 574685"/>
                <a:gd name="connsiteX55" fmla="*/ 431699 w 596327"/>
                <a:gd name="connsiteY55" fmla="*/ 117421 h 574685"/>
                <a:gd name="connsiteX56" fmla="*/ 434920 w 596327"/>
                <a:gd name="connsiteY56" fmla="*/ 117421 h 574685"/>
                <a:gd name="connsiteX57" fmla="*/ 435636 w 596327"/>
                <a:gd name="connsiteY57" fmla="*/ 117421 h 574685"/>
                <a:gd name="connsiteX58" fmla="*/ 443151 w 596327"/>
                <a:gd name="connsiteY58" fmla="*/ 124954 h 574685"/>
                <a:gd name="connsiteX59" fmla="*/ 443151 w 596327"/>
                <a:gd name="connsiteY59" fmla="*/ 140378 h 574685"/>
                <a:gd name="connsiteX60" fmla="*/ 435994 w 596327"/>
                <a:gd name="connsiteY60" fmla="*/ 147552 h 574685"/>
                <a:gd name="connsiteX61" fmla="*/ 434920 w 596327"/>
                <a:gd name="connsiteY61" fmla="*/ 147552 h 574685"/>
                <a:gd name="connsiteX62" fmla="*/ 431699 w 596327"/>
                <a:gd name="connsiteY62" fmla="*/ 147552 h 574685"/>
                <a:gd name="connsiteX63" fmla="*/ 420248 w 596327"/>
                <a:gd name="connsiteY63" fmla="*/ 147552 h 574685"/>
                <a:gd name="connsiteX64" fmla="*/ 413090 w 596327"/>
                <a:gd name="connsiteY64" fmla="*/ 140378 h 574685"/>
                <a:gd name="connsiteX65" fmla="*/ 413090 w 596327"/>
                <a:gd name="connsiteY65" fmla="*/ 124595 h 574685"/>
                <a:gd name="connsiteX66" fmla="*/ 420248 w 596327"/>
                <a:gd name="connsiteY66" fmla="*/ 117421 h 574685"/>
                <a:gd name="connsiteX67" fmla="*/ 420249 w 596327"/>
                <a:gd name="connsiteY67" fmla="*/ 60192 h 574685"/>
                <a:gd name="connsiteX68" fmla="*/ 435640 w 596327"/>
                <a:gd name="connsiteY68" fmla="*/ 60192 h 574685"/>
                <a:gd name="connsiteX69" fmla="*/ 442798 w 596327"/>
                <a:gd name="connsiteY69" fmla="*/ 67349 h 574685"/>
                <a:gd name="connsiteX70" fmla="*/ 442798 w 596327"/>
                <a:gd name="connsiteY70" fmla="*/ 71644 h 574685"/>
                <a:gd name="connsiteX71" fmla="*/ 442798 w 596327"/>
                <a:gd name="connsiteY71" fmla="*/ 83096 h 574685"/>
                <a:gd name="connsiteX72" fmla="*/ 435640 w 596327"/>
                <a:gd name="connsiteY72" fmla="*/ 90253 h 574685"/>
                <a:gd name="connsiteX73" fmla="*/ 420249 w 596327"/>
                <a:gd name="connsiteY73" fmla="*/ 90253 h 574685"/>
                <a:gd name="connsiteX74" fmla="*/ 413090 w 596327"/>
                <a:gd name="connsiteY74" fmla="*/ 83096 h 574685"/>
                <a:gd name="connsiteX75" fmla="*/ 413090 w 596327"/>
                <a:gd name="connsiteY75" fmla="*/ 71644 h 574685"/>
                <a:gd name="connsiteX76" fmla="*/ 413090 w 596327"/>
                <a:gd name="connsiteY76" fmla="*/ 67349 h 574685"/>
                <a:gd name="connsiteX77" fmla="*/ 420249 w 596327"/>
                <a:gd name="connsiteY77" fmla="*/ 60192 h 574685"/>
                <a:gd name="connsiteX78" fmla="*/ 391206 w 596327"/>
                <a:gd name="connsiteY78" fmla="*/ 47618 h 574685"/>
                <a:gd name="connsiteX79" fmla="*/ 384034 w 596327"/>
                <a:gd name="connsiteY79" fmla="*/ 54779 h 574685"/>
                <a:gd name="connsiteX80" fmla="*/ 384034 w 596327"/>
                <a:gd name="connsiteY80" fmla="*/ 93088 h 574685"/>
                <a:gd name="connsiteX81" fmla="*/ 384034 w 596327"/>
                <a:gd name="connsiteY81" fmla="*/ 214462 h 574685"/>
                <a:gd name="connsiteX82" fmla="*/ 391206 w 596327"/>
                <a:gd name="connsiteY82" fmla="*/ 221622 h 574685"/>
                <a:gd name="connsiteX83" fmla="*/ 434953 w 596327"/>
                <a:gd name="connsiteY83" fmla="*/ 221622 h 574685"/>
                <a:gd name="connsiteX84" fmla="*/ 483003 w 596327"/>
                <a:gd name="connsiteY84" fmla="*/ 221622 h 574685"/>
                <a:gd name="connsiteX85" fmla="*/ 541093 w 596327"/>
                <a:gd name="connsiteY85" fmla="*/ 221622 h 574685"/>
                <a:gd name="connsiteX86" fmla="*/ 548264 w 596327"/>
                <a:gd name="connsiteY86" fmla="*/ 214462 h 574685"/>
                <a:gd name="connsiteX87" fmla="*/ 548264 w 596327"/>
                <a:gd name="connsiteY87" fmla="*/ 54779 h 574685"/>
                <a:gd name="connsiteX88" fmla="*/ 541093 w 596327"/>
                <a:gd name="connsiteY88" fmla="*/ 47618 h 574685"/>
                <a:gd name="connsiteX89" fmla="*/ 465074 w 596327"/>
                <a:gd name="connsiteY89" fmla="*/ 47618 h 574685"/>
                <a:gd name="connsiteX90" fmla="*/ 28685 w 596327"/>
                <a:gd name="connsiteY90" fmla="*/ 45515 h 574685"/>
                <a:gd name="connsiteX91" fmla="*/ 269643 w 596327"/>
                <a:gd name="connsiteY91" fmla="*/ 45515 h 574685"/>
                <a:gd name="connsiteX92" fmla="*/ 269643 w 596327"/>
                <a:gd name="connsiteY92" fmla="*/ 93133 h 574685"/>
                <a:gd name="connsiteX93" fmla="*/ 110080 w 596327"/>
                <a:gd name="connsiteY93" fmla="*/ 93133 h 574685"/>
                <a:gd name="connsiteX94" fmla="*/ 95737 w 596327"/>
                <a:gd name="connsiteY94" fmla="*/ 107454 h 574685"/>
                <a:gd name="connsiteX95" fmla="*/ 95737 w 596327"/>
                <a:gd name="connsiteY95" fmla="*/ 409991 h 574685"/>
                <a:gd name="connsiteX96" fmla="*/ 110080 w 596327"/>
                <a:gd name="connsiteY96" fmla="*/ 424312 h 574685"/>
                <a:gd name="connsiteX97" fmla="*/ 420601 w 596327"/>
                <a:gd name="connsiteY97" fmla="*/ 424312 h 574685"/>
                <a:gd name="connsiteX98" fmla="*/ 434943 w 596327"/>
                <a:gd name="connsiteY98" fmla="*/ 409991 h 574685"/>
                <a:gd name="connsiteX99" fmla="*/ 434943 w 596327"/>
                <a:gd name="connsiteY99" fmla="*/ 388151 h 574685"/>
                <a:gd name="connsiteX100" fmla="*/ 483350 w 596327"/>
                <a:gd name="connsiteY100" fmla="*/ 388151 h 574685"/>
                <a:gd name="connsiteX101" fmla="*/ 483350 w 596327"/>
                <a:gd name="connsiteY101" fmla="*/ 420016 h 574685"/>
                <a:gd name="connsiteX102" fmla="*/ 483350 w 596327"/>
                <a:gd name="connsiteY102" fmla="*/ 442930 h 574685"/>
                <a:gd name="connsiteX103" fmla="*/ 482991 w 596327"/>
                <a:gd name="connsiteY103" fmla="*/ 452596 h 574685"/>
                <a:gd name="connsiteX104" fmla="*/ 474386 w 596327"/>
                <a:gd name="connsiteY104" fmla="*/ 469424 h 574685"/>
                <a:gd name="connsiteX105" fmla="*/ 467214 w 596327"/>
                <a:gd name="connsiteY105" fmla="*/ 491622 h 574685"/>
                <a:gd name="connsiteX106" fmla="*/ 478689 w 596327"/>
                <a:gd name="connsiteY106" fmla="*/ 537092 h 574685"/>
                <a:gd name="connsiteX107" fmla="*/ 476537 w 596327"/>
                <a:gd name="connsiteY107" fmla="*/ 567166 h 574685"/>
                <a:gd name="connsiteX108" fmla="*/ 457892 w 596327"/>
                <a:gd name="connsiteY108" fmla="*/ 574685 h 574685"/>
                <a:gd name="connsiteX109" fmla="*/ 28685 w 596327"/>
                <a:gd name="connsiteY109" fmla="*/ 574685 h 574685"/>
                <a:gd name="connsiteX110" fmla="*/ 0 w 596327"/>
                <a:gd name="connsiteY110" fmla="*/ 546043 h 574685"/>
                <a:gd name="connsiteX111" fmla="*/ 0 w 596327"/>
                <a:gd name="connsiteY111" fmla="*/ 447226 h 574685"/>
                <a:gd name="connsiteX112" fmla="*/ 0 w 596327"/>
                <a:gd name="connsiteY112" fmla="*/ 74157 h 574685"/>
                <a:gd name="connsiteX113" fmla="*/ 28685 w 596327"/>
                <a:gd name="connsiteY113" fmla="*/ 45515 h 574685"/>
                <a:gd name="connsiteX114" fmla="*/ 331323 w 596327"/>
                <a:gd name="connsiteY114" fmla="*/ 0 h 574685"/>
                <a:gd name="connsiteX115" fmla="*/ 581971 w 596327"/>
                <a:gd name="connsiteY115" fmla="*/ 0 h 574685"/>
                <a:gd name="connsiteX116" fmla="*/ 596314 w 596327"/>
                <a:gd name="connsiteY116" fmla="*/ 14321 h 574685"/>
                <a:gd name="connsiteX117" fmla="*/ 596314 w 596327"/>
                <a:gd name="connsiteY117" fmla="*/ 245969 h 574685"/>
                <a:gd name="connsiteX118" fmla="*/ 591294 w 596327"/>
                <a:gd name="connsiteY118" fmla="*/ 259216 h 574685"/>
                <a:gd name="connsiteX119" fmla="*/ 588066 w 596327"/>
                <a:gd name="connsiteY119" fmla="*/ 263870 h 574685"/>
                <a:gd name="connsiteX120" fmla="*/ 582688 w 596327"/>
                <a:gd name="connsiteY120" fmla="*/ 281056 h 574685"/>
                <a:gd name="connsiteX121" fmla="*/ 590576 w 596327"/>
                <a:gd name="connsiteY121" fmla="*/ 300389 h 574685"/>
                <a:gd name="connsiteX122" fmla="*/ 591294 w 596327"/>
                <a:gd name="connsiteY122" fmla="*/ 330464 h 574685"/>
                <a:gd name="connsiteX123" fmla="*/ 571213 w 596327"/>
                <a:gd name="connsiteY123" fmla="*/ 339773 h 574685"/>
                <a:gd name="connsiteX124" fmla="*/ 483003 w 596327"/>
                <a:gd name="connsiteY124" fmla="*/ 339773 h 574685"/>
                <a:gd name="connsiteX125" fmla="*/ 434953 w 596327"/>
                <a:gd name="connsiteY125" fmla="*/ 339773 h 574685"/>
                <a:gd name="connsiteX126" fmla="*/ 331323 w 596327"/>
                <a:gd name="connsiteY126" fmla="*/ 339773 h 574685"/>
                <a:gd name="connsiteX127" fmla="*/ 316980 w 596327"/>
                <a:gd name="connsiteY127" fmla="*/ 325452 h 574685"/>
                <a:gd name="connsiteX128" fmla="*/ 316980 w 596327"/>
                <a:gd name="connsiteY128" fmla="*/ 245252 h 574685"/>
                <a:gd name="connsiteX129" fmla="*/ 316980 w 596327"/>
                <a:gd name="connsiteY129" fmla="*/ 93088 h 574685"/>
                <a:gd name="connsiteX130" fmla="*/ 316980 w 596327"/>
                <a:gd name="connsiteY130" fmla="*/ 45470 h 574685"/>
                <a:gd name="connsiteX131" fmla="*/ 316980 w 596327"/>
                <a:gd name="connsiteY131" fmla="*/ 14321 h 574685"/>
                <a:gd name="connsiteX132" fmla="*/ 331323 w 596327"/>
                <a:gd name="connsiteY132" fmla="*/ 0 h 574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596327" h="574685">
                  <a:moveTo>
                    <a:pt x="62032" y="471572"/>
                  </a:moveTo>
                  <a:cubicBezTo>
                    <a:pt x="54144" y="471572"/>
                    <a:pt x="47689" y="478017"/>
                    <a:pt x="47689" y="485893"/>
                  </a:cubicBezTo>
                  <a:lnTo>
                    <a:pt x="47689" y="512746"/>
                  </a:lnTo>
                  <a:cubicBezTo>
                    <a:pt x="47689" y="520980"/>
                    <a:pt x="54144" y="527067"/>
                    <a:pt x="62032" y="527067"/>
                  </a:cubicBezTo>
                  <a:lnTo>
                    <a:pt x="422752" y="527067"/>
                  </a:lnTo>
                  <a:cubicBezTo>
                    <a:pt x="418449" y="511672"/>
                    <a:pt x="416298" y="492338"/>
                    <a:pt x="421676" y="471572"/>
                  </a:cubicBezTo>
                  <a:close/>
                  <a:moveTo>
                    <a:pt x="146647" y="334057"/>
                  </a:moveTo>
                  <a:lnTo>
                    <a:pt x="176754" y="334057"/>
                  </a:lnTo>
                  <a:cubicBezTo>
                    <a:pt x="184639" y="334057"/>
                    <a:pt x="191091" y="340500"/>
                    <a:pt x="191091" y="349090"/>
                  </a:cubicBezTo>
                  <a:lnTo>
                    <a:pt x="191091" y="379156"/>
                  </a:lnTo>
                  <a:cubicBezTo>
                    <a:pt x="191091" y="387030"/>
                    <a:pt x="184998" y="393473"/>
                    <a:pt x="176754" y="393473"/>
                  </a:cubicBezTo>
                  <a:lnTo>
                    <a:pt x="146647" y="393473"/>
                  </a:lnTo>
                  <a:cubicBezTo>
                    <a:pt x="138761" y="393473"/>
                    <a:pt x="132310" y="387030"/>
                    <a:pt x="132310" y="379156"/>
                  </a:cubicBezTo>
                  <a:lnTo>
                    <a:pt x="132310" y="348374"/>
                  </a:lnTo>
                  <a:cubicBezTo>
                    <a:pt x="132310" y="340500"/>
                    <a:pt x="138761" y="334057"/>
                    <a:pt x="146647" y="334057"/>
                  </a:cubicBezTo>
                  <a:close/>
                  <a:moveTo>
                    <a:pt x="371842" y="269241"/>
                  </a:moveTo>
                  <a:cubicBezTo>
                    <a:pt x="368257" y="269241"/>
                    <a:pt x="364671" y="272463"/>
                    <a:pt x="364671" y="276401"/>
                  </a:cubicBezTo>
                  <a:lnTo>
                    <a:pt x="364671" y="284994"/>
                  </a:lnTo>
                  <a:cubicBezTo>
                    <a:pt x="364671" y="288932"/>
                    <a:pt x="368257" y="292155"/>
                    <a:pt x="371842" y="292155"/>
                  </a:cubicBezTo>
                  <a:lnTo>
                    <a:pt x="434953" y="292155"/>
                  </a:lnTo>
                  <a:lnTo>
                    <a:pt x="483003" y="292155"/>
                  </a:lnTo>
                  <a:lnTo>
                    <a:pt x="536431" y="292155"/>
                  </a:lnTo>
                  <a:cubicBezTo>
                    <a:pt x="534997" y="284994"/>
                    <a:pt x="534997" y="277475"/>
                    <a:pt x="536072" y="269241"/>
                  </a:cubicBezTo>
                  <a:lnTo>
                    <a:pt x="483003" y="269241"/>
                  </a:lnTo>
                  <a:lnTo>
                    <a:pt x="434953" y="269241"/>
                  </a:lnTo>
                  <a:close/>
                  <a:moveTo>
                    <a:pt x="146647" y="230961"/>
                  </a:moveTo>
                  <a:lnTo>
                    <a:pt x="176754" y="230961"/>
                  </a:lnTo>
                  <a:cubicBezTo>
                    <a:pt x="184998" y="230961"/>
                    <a:pt x="191091" y="237405"/>
                    <a:pt x="191091" y="245281"/>
                  </a:cubicBezTo>
                  <a:lnTo>
                    <a:pt x="191091" y="275352"/>
                  </a:lnTo>
                  <a:cubicBezTo>
                    <a:pt x="191091" y="283585"/>
                    <a:pt x="184998" y="289671"/>
                    <a:pt x="176754" y="289671"/>
                  </a:cubicBezTo>
                  <a:lnTo>
                    <a:pt x="146647" y="289671"/>
                  </a:lnTo>
                  <a:cubicBezTo>
                    <a:pt x="138761" y="289671"/>
                    <a:pt x="132310" y="283585"/>
                    <a:pt x="132310" y="275352"/>
                  </a:cubicBezTo>
                  <a:lnTo>
                    <a:pt x="132310" y="245281"/>
                  </a:lnTo>
                  <a:cubicBezTo>
                    <a:pt x="132310" y="237405"/>
                    <a:pt x="138761" y="230961"/>
                    <a:pt x="146647" y="230961"/>
                  </a:cubicBezTo>
                  <a:close/>
                  <a:moveTo>
                    <a:pt x="420248" y="175073"/>
                  </a:moveTo>
                  <a:lnTo>
                    <a:pt x="434920" y="175073"/>
                  </a:lnTo>
                  <a:lnTo>
                    <a:pt x="435636" y="175073"/>
                  </a:lnTo>
                  <a:cubicBezTo>
                    <a:pt x="439930" y="175073"/>
                    <a:pt x="442793" y="177936"/>
                    <a:pt x="443151" y="182232"/>
                  </a:cubicBezTo>
                  <a:lnTo>
                    <a:pt x="443151" y="197623"/>
                  </a:lnTo>
                  <a:cubicBezTo>
                    <a:pt x="443151" y="201560"/>
                    <a:pt x="439930" y="204781"/>
                    <a:pt x="435994" y="204781"/>
                  </a:cubicBezTo>
                  <a:lnTo>
                    <a:pt x="434920" y="204781"/>
                  </a:lnTo>
                  <a:lnTo>
                    <a:pt x="420248" y="204781"/>
                  </a:lnTo>
                  <a:cubicBezTo>
                    <a:pt x="416311" y="204781"/>
                    <a:pt x="413090" y="201560"/>
                    <a:pt x="413090" y="197623"/>
                  </a:cubicBezTo>
                  <a:lnTo>
                    <a:pt x="413090" y="182232"/>
                  </a:lnTo>
                  <a:cubicBezTo>
                    <a:pt x="413090" y="178652"/>
                    <a:pt x="416311" y="175073"/>
                    <a:pt x="420248" y="175073"/>
                  </a:cubicBezTo>
                  <a:close/>
                  <a:moveTo>
                    <a:pt x="146647" y="127441"/>
                  </a:moveTo>
                  <a:lnTo>
                    <a:pt x="176754" y="127441"/>
                  </a:lnTo>
                  <a:cubicBezTo>
                    <a:pt x="184998" y="127441"/>
                    <a:pt x="191091" y="133534"/>
                    <a:pt x="191091" y="141778"/>
                  </a:cubicBezTo>
                  <a:lnTo>
                    <a:pt x="191091" y="171885"/>
                  </a:lnTo>
                  <a:cubicBezTo>
                    <a:pt x="191091" y="180129"/>
                    <a:pt x="184998" y="186222"/>
                    <a:pt x="176754" y="186222"/>
                  </a:cubicBezTo>
                  <a:lnTo>
                    <a:pt x="146647" y="186222"/>
                  </a:lnTo>
                  <a:cubicBezTo>
                    <a:pt x="138761" y="186222"/>
                    <a:pt x="132310" y="180129"/>
                    <a:pt x="132310" y="171885"/>
                  </a:cubicBezTo>
                  <a:lnTo>
                    <a:pt x="132310" y="141778"/>
                  </a:lnTo>
                  <a:cubicBezTo>
                    <a:pt x="132310" y="133534"/>
                    <a:pt x="138761" y="127441"/>
                    <a:pt x="146647" y="127441"/>
                  </a:cubicBezTo>
                  <a:close/>
                  <a:moveTo>
                    <a:pt x="420248" y="117421"/>
                  </a:moveTo>
                  <a:lnTo>
                    <a:pt x="431699" y="117421"/>
                  </a:lnTo>
                  <a:lnTo>
                    <a:pt x="434920" y="117421"/>
                  </a:lnTo>
                  <a:lnTo>
                    <a:pt x="435636" y="117421"/>
                  </a:lnTo>
                  <a:cubicBezTo>
                    <a:pt x="439930" y="117421"/>
                    <a:pt x="442793" y="120649"/>
                    <a:pt x="443151" y="124954"/>
                  </a:cubicBezTo>
                  <a:lnTo>
                    <a:pt x="443151" y="140378"/>
                  </a:lnTo>
                  <a:cubicBezTo>
                    <a:pt x="443151" y="144324"/>
                    <a:pt x="439930" y="147552"/>
                    <a:pt x="435994" y="147552"/>
                  </a:cubicBezTo>
                  <a:lnTo>
                    <a:pt x="434920" y="147552"/>
                  </a:lnTo>
                  <a:lnTo>
                    <a:pt x="431699" y="147552"/>
                  </a:lnTo>
                  <a:lnTo>
                    <a:pt x="420248" y="147552"/>
                  </a:lnTo>
                  <a:cubicBezTo>
                    <a:pt x="416311" y="147552"/>
                    <a:pt x="413090" y="144324"/>
                    <a:pt x="413090" y="140378"/>
                  </a:cubicBezTo>
                  <a:lnTo>
                    <a:pt x="413090" y="124595"/>
                  </a:lnTo>
                  <a:cubicBezTo>
                    <a:pt x="413090" y="120649"/>
                    <a:pt x="416311" y="117421"/>
                    <a:pt x="420248" y="117421"/>
                  </a:cubicBezTo>
                  <a:close/>
                  <a:moveTo>
                    <a:pt x="420249" y="60192"/>
                  </a:moveTo>
                  <a:lnTo>
                    <a:pt x="435640" y="60192"/>
                  </a:lnTo>
                  <a:cubicBezTo>
                    <a:pt x="439935" y="60192"/>
                    <a:pt x="442798" y="63413"/>
                    <a:pt x="442798" y="67349"/>
                  </a:cubicBezTo>
                  <a:lnTo>
                    <a:pt x="442798" y="71644"/>
                  </a:lnTo>
                  <a:lnTo>
                    <a:pt x="442798" y="83096"/>
                  </a:lnTo>
                  <a:cubicBezTo>
                    <a:pt x="442798" y="87032"/>
                    <a:pt x="439219" y="90253"/>
                    <a:pt x="435640" y="90253"/>
                  </a:cubicBezTo>
                  <a:lnTo>
                    <a:pt x="420249" y="90253"/>
                  </a:lnTo>
                  <a:cubicBezTo>
                    <a:pt x="416312" y="90253"/>
                    <a:pt x="413090" y="87032"/>
                    <a:pt x="413090" y="83096"/>
                  </a:cubicBezTo>
                  <a:lnTo>
                    <a:pt x="413090" y="71644"/>
                  </a:lnTo>
                  <a:lnTo>
                    <a:pt x="413090" y="67349"/>
                  </a:lnTo>
                  <a:cubicBezTo>
                    <a:pt x="413090" y="63413"/>
                    <a:pt x="416312" y="60192"/>
                    <a:pt x="420249" y="60192"/>
                  </a:cubicBezTo>
                  <a:close/>
                  <a:moveTo>
                    <a:pt x="391206" y="47618"/>
                  </a:moveTo>
                  <a:cubicBezTo>
                    <a:pt x="387261" y="47618"/>
                    <a:pt x="384034" y="51199"/>
                    <a:pt x="384034" y="54779"/>
                  </a:cubicBezTo>
                  <a:lnTo>
                    <a:pt x="384034" y="93088"/>
                  </a:lnTo>
                  <a:lnTo>
                    <a:pt x="384034" y="214462"/>
                  </a:lnTo>
                  <a:cubicBezTo>
                    <a:pt x="384034" y="218042"/>
                    <a:pt x="387261" y="221622"/>
                    <a:pt x="391206" y="221622"/>
                  </a:cubicBezTo>
                  <a:lnTo>
                    <a:pt x="434953" y="221622"/>
                  </a:lnTo>
                  <a:lnTo>
                    <a:pt x="483003" y="221622"/>
                  </a:lnTo>
                  <a:lnTo>
                    <a:pt x="541093" y="221622"/>
                  </a:lnTo>
                  <a:cubicBezTo>
                    <a:pt x="545037" y="221622"/>
                    <a:pt x="548264" y="218042"/>
                    <a:pt x="548264" y="214462"/>
                  </a:cubicBezTo>
                  <a:lnTo>
                    <a:pt x="548264" y="54779"/>
                  </a:lnTo>
                  <a:cubicBezTo>
                    <a:pt x="548264" y="51199"/>
                    <a:pt x="545037" y="47618"/>
                    <a:pt x="541093" y="47618"/>
                  </a:cubicBezTo>
                  <a:lnTo>
                    <a:pt x="465074" y="47618"/>
                  </a:lnTo>
                  <a:close/>
                  <a:moveTo>
                    <a:pt x="28685" y="45515"/>
                  </a:moveTo>
                  <a:lnTo>
                    <a:pt x="269643" y="45515"/>
                  </a:lnTo>
                  <a:lnTo>
                    <a:pt x="269643" y="93133"/>
                  </a:lnTo>
                  <a:lnTo>
                    <a:pt x="110080" y="93133"/>
                  </a:lnTo>
                  <a:cubicBezTo>
                    <a:pt x="101833" y="93133"/>
                    <a:pt x="95737" y="99220"/>
                    <a:pt x="95737" y="107454"/>
                  </a:cubicBezTo>
                  <a:lnTo>
                    <a:pt x="95737" y="409991"/>
                  </a:lnTo>
                  <a:cubicBezTo>
                    <a:pt x="95737" y="418225"/>
                    <a:pt x="101833" y="424312"/>
                    <a:pt x="110080" y="424312"/>
                  </a:cubicBezTo>
                  <a:lnTo>
                    <a:pt x="420601" y="424312"/>
                  </a:lnTo>
                  <a:cubicBezTo>
                    <a:pt x="428848" y="424312"/>
                    <a:pt x="434943" y="418225"/>
                    <a:pt x="434943" y="409991"/>
                  </a:cubicBezTo>
                  <a:lnTo>
                    <a:pt x="434943" y="388151"/>
                  </a:lnTo>
                  <a:lnTo>
                    <a:pt x="483350" y="388151"/>
                  </a:lnTo>
                  <a:lnTo>
                    <a:pt x="483350" y="420016"/>
                  </a:lnTo>
                  <a:lnTo>
                    <a:pt x="483350" y="442930"/>
                  </a:lnTo>
                  <a:cubicBezTo>
                    <a:pt x="483350" y="446510"/>
                    <a:pt x="483709" y="449374"/>
                    <a:pt x="482991" y="452596"/>
                  </a:cubicBezTo>
                  <a:cubicBezTo>
                    <a:pt x="481557" y="458683"/>
                    <a:pt x="477254" y="463695"/>
                    <a:pt x="474386" y="469424"/>
                  </a:cubicBezTo>
                  <a:cubicBezTo>
                    <a:pt x="470442" y="475868"/>
                    <a:pt x="467932" y="483745"/>
                    <a:pt x="467214" y="491622"/>
                  </a:cubicBezTo>
                  <a:cubicBezTo>
                    <a:pt x="465063" y="507017"/>
                    <a:pt x="469366" y="524561"/>
                    <a:pt x="478689" y="537092"/>
                  </a:cubicBezTo>
                  <a:cubicBezTo>
                    <a:pt x="484784" y="546043"/>
                    <a:pt x="484426" y="558574"/>
                    <a:pt x="476537" y="567166"/>
                  </a:cubicBezTo>
                  <a:cubicBezTo>
                    <a:pt x="471876" y="572537"/>
                    <a:pt x="464704" y="574685"/>
                    <a:pt x="457892" y="574685"/>
                  </a:cubicBezTo>
                  <a:lnTo>
                    <a:pt x="28685" y="574685"/>
                  </a:lnTo>
                  <a:cubicBezTo>
                    <a:pt x="12908" y="574685"/>
                    <a:pt x="0" y="561796"/>
                    <a:pt x="0" y="546043"/>
                  </a:cubicBezTo>
                  <a:lnTo>
                    <a:pt x="0" y="447226"/>
                  </a:lnTo>
                  <a:lnTo>
                    <a:pt x="0" y="74157"/>
                  </a:lnTo>
                  <a:cubicBezTo>
                    <a:pt x="0" y="58404"/>
                    <a:pt x="12908" y="45515"/>
                    <a:pt x="28685" y="45515"/>
                  </a:cubicBezTo>
                  <a:close/>
                  <a:moveTo>
                    <a:pt x="331323" y="0"/>
                  </a:moveTo>
                  <a:lnTo>
                    <a:pt x="581971" y="0"/>
                  </a:lnTo>
                  <a:cubicBezTo>
                    <a:pt x="589859" y="0"/>
                    <a:pt x="596314" y="6086"/>
                    <a:pt x="596314" y="14321"/>
                  </a:cubicBezTo>
                  <a:lnTo>
                    <a:pt x="596314" y="245969"/>
                  </a:lnTo>
                  <a:cubicBezTo>
                    <a:pt x="596314" y="250623"/>
                    <a:pt x="593804" y="254919"/>
                    <a:pt x="591294" y="259216"/>
                  </a:cubicBezTo>
                  <a:cubicBezTo>
                    <a:pt x="589859" y="261006"/>
                    <a:pt x="589142" y="262438"/>
                    <a:pt x="588066" y="263870"/>
                  </a:cubicBezTo>
                  <a:cubicBezTo>
                    <a:pt x="584122" y="269241"/>
                    <a:pt x="582688" y="275327"/>
                    <a:pt x="582688" y="281056"/>
                  </a:cubicBezTo>
                  <a:cubicBezTo>
                    <a:pt x="583405" y="287858"/>
                    <a:pt x="586274" y="295019"/>
                    <a:pt x="590576" y="300389"/>
                  </a:cubicBezTo>
                  <a:cubicBezTo>
                    <a:pt x="597748" y="308982"/>
                    <a:pt x="598465" y="321155"/>
                    <a:pt x="591294" y="330464"/>
                  </a:cubicBezTo>
                  <a:cubicBezTo>
                    <a:pt x="586632" y="336551"/>
                    <a:pt x="579102" y="339773"/>
                    <a:pt x="571213" y="339773"/>
                  </a:cubicBezTo>
                  <a:lnTo>
                    <a:pt x="483003" y="339773"/>
                  </a:lnTo>
                  <a:lnTo>
                    <a:pt x="434953" y="339773"/>
                  </a:lnTo>
                  <a:lnTo>
                    <a:pt x="331323" y="339773"/>
                  </a:lnTo>
                  <a:cubicBezTo>
                    <a:pt x="323076" y="339773"/>
                    <a:pt x="316980" y="333687"/>
                    <a:pt x="316980" y="325452"/>
                  </a:cubicBezTo>
                  <a:lnTo>
                    <a:pt x="316980" y="245252"/>
                  </a:lnTo>
                  <a:lnTo>
                    <a:pt x="316980" y="93088"/>
                  </a:lnTo>
                  <a:lnTo>
                    <a:pt x="316980" y="45470"/>
                  </a:lnTo>
                  <a:lnTo>
                    <a:pt x="316980" y="14321"/>
                  </a:lnTo>
                  <a:cubicBezTo>
                    <a:pt x="316980" y="6086"/>
                    <a:pt x="323076" y="0"/>
                    <a:pt x="331323" y="0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sp>
        <p:nvSpPr>
          <p:cNvPr id="97" name="文本框 23">
            <a:extLst>
              <a:ext uri="{FF2B5EF4-FFF2-40B4-BE49-F238E27FC236}">
                <a16:creationId xmlns:a16="http://schemas.microsoft.com/office/drawing/2014/main" id="{403B4BE9-6A6D-4073-9210-B0192E5998EA}"/>
              </a:ext>
            </a:extLst>
          </p:cNvPr>
          <p:cNvSpPr txBox="1"/>
          <p:nvPr/>
        </p:nvSpPr>
        <p:spPr>
          <a:xfrm>
            <a:off x="265371" y="759756"/>
            <a:ext cx="790058" cy="53629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0943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15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91FD4C95-4A35-4986-A123-341B85C1B1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91FD4C95-4A35-4986-A123-341B85C1B1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C4BEF1BE-C90A-41FC-840A-564E1D00FD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908239" y="3078632"/>
            <a:ext cx="6375522" cy="895350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latin typeface="楷体" panose="02010609060101010101" pitchFamily="49" charset="-122"/>
                <a:ea typeface="楷体" panose="02010609060101010101" pitchFamily="49" charset="-122"/>
              </a:rPr>
              <a:t>学习总结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3DD1E421-BF85-430B-B9CB-4C2487A56DC2}"/>
              </a:ext>
            </a:extLst>
          </p:cNvPr>
          <p:cNvSpPr txBox="1"/>
          <p:nvPr/>
        </p:nvSpPr>
        <p:spPr>
          <a:xfrm>
            <a:off x="5584242" y="21887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684895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ageCurlSingle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íṥ1íḑé">
            <a:extLst>
              <a:ext uri="{FF2B5EF4-FFF2-40B4-BE49-F238E27FC236}">
                <a16:creationId xmlns:a16="http://schemas.microsoft.com/office/drawing/2014/main" id="{ACBDF0B1-8CE5-4A2E-B957-D1646A23ED49}"/>
              </a:ext>
            </a:extLst>
          </p:cNvPr>
          <p:cNvSpPr/>
          <p:nvPr/>
        </p:nvSpPr>
        <p:spPr bwMode="auto">
          <a:xfrm>
            <a:off x="773531" y="2149534"/>
            <a:ext cx="4751626" cy="1784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团队协作</a:t>
            </a:r>
            <a:endParaRPr lang="en-US" altLang="zh-CN" sz="16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版本管理工具（</a:t>
            </a:r>
            <a:r>
              <a:rPr lang="en-US" altLang="zh-CN" sz="1600" dirty="0">
                <a:latin typeface="+mn-ea"/>
              </a:rPr>
              <a:t>SVN</a:t>
            </a:r>
            <a:r>
              <a:rPr lang="zh-CN" altLang="en-US" sz="1600" dirty="0">
                <a:latin typeface="+mn-ea"/>
              </a:rPr>
              <a:t>）</a:t>
            </a:r>
            <a:endParaRPr lang="en-US" altLang="zh-CN" sz="16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en-US" altLang="zh-CN" sz="1600" dirty="0">
                <a:latin typeface="+mn-ea"/>
              </a:rPr>
              <a:t>C#</a:t>
            </a: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设计模式</a:t>
            </a:r>
            <a:endParaRPr lang="en-US" altLang="zh-CN" sz="1600" dirty="0">
              <a:latin typeface="+mn-ea"/>
            </a:endParaRPr>
          </a:p>
        </p:txBody>
      </p:sp>
      <p:sp>
        <p:nvSpPr>
          <p:cNvPr id="27" name="ïṣľíḍe">
            <a:extLst>
              <a:ext uri="{FF2B5EF4-FFF2-40B4-BE49-F238E27FC236}">
                <a16:creationId xmlns:a16="http://schemas.microsoft.com/office/drawing/2014/main" id="{4857C6A1-0E42-4ECC-AF5A-528512EE0BC6}"/>
              </a:ext>
            </a:extLst>
          </p:cNvPr>
          <p:cNvSpPr txBox="1"/>
          <p:nvPr/>
        </p:nvSpPr>
        <p:spPr bwMode="auto">
          <a:xfrm>
            <a:off x="773532" y="1736655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郑州火警项目</a:t>
            </a:r>
            <a:endParaRPr lang="en-US" altLang="zh-CN" sz="2000" b="1" dirty="0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935BC04-B404-416E-A17A-230C39756C56}"/>
              </a:ext>
            </a:extLst>
          </p:cNvPr>
          <p:cNvCxnSpPr>
            <a:cxnSpLocks/>
          </p:cNvCxnSpPr>
          <p:nvPr/>
        </p:nvCxnSpPr>
        <p:spPr>
          <a:xfrm>
            <a:off x="660400" y="3629958"/>
            <a:ext cx="512754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ïṣľíḍe">
            <a:extLst>
              <a:ext uri="{FF2B5EF4-FFF2-40B4-BE49-F238E27FC236}">
                <a16:creationId xmlns:a16="http://schemas.microsoft.com/office/drawing/2014/main" id="{C1093E25-91CE-4BCF-B520-9A5BEBC98910}"/>
              </a:ext>
            </a:extLst>
          </p:cNvPr>
          <p:cNvSpPr txBox="1"/>
          <p:nvPr/>
        </p:nvSpPr>
        <p:spPr bwMode="auto">
          <a:xfrm>
            <a:off x="773532" y="3786707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舆情项目</a:t>
            </a:r>
            <a:endParaRPr lang="en-US" altLang="zh-CN" sz="2000" b="1" dirty="0"/>
          </a:p>
        </p:txBody>
      </p:sp>
      <p:sp>
        <p:nvSpPr>
          <p:cNvPr id="48" name="íṥ1íḑé">
            <a:extLst>
              <a:ext uri="{FF2B5EF4-FFF2-40B4-BE49-F238E27FC236}">
                <a16:creationId xmlns:a16="http://schemas.microsoft.com/office/drawing/2014/main" id="{595B0FD5-9AB4-48CD-983C-CDA23A2187D0}"/>
              </a:ext>
            </a:extLst>
          </p:cNvPr>
          <p:cNvSpPr/>
          <p:nvPr/>
        </p:nvSpPr>
        <p:spPr bwMode="auto">
          <a:xfrm>
            <a:off x="773531" y="4246105"/>
            <a:ext cx="4751626" cy="1784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en-US" altLang="zh-CN" sz="1600" dirty="0">
                <a:latin typeface="+mn-ea"/>
              </a:rPr>
              <a:t>Redis</a:t>
            </a: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en-US" altLang="zh-CN" sz="1600" dirty="0">
                <a:latin typeface="+mn-ea"/>
              </a:rPr>
              <a:t>MongoDB</a:t>
            </a: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en-US" altLang="zh-CN" sz="1600" dirty="0">
                <a:latin typeface="+mn-ea"/>
              </a:rPr>
              <a:t>Supervisor</a:t>
            </a: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en-US" altLang="zh-CN" sz="1600" dirty="0">
                <a:latin typeface="+mn-ea"/>
              </a:rPr>
              <a:t>Python</a:t>
            </a: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154DE38D-C266-4E86-B43B-201443098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9070" y="365125"/>
            <a:ext cx="10024730" cy="1325563"/>
          </a:xfrm>
        </p:spPr>
        <p:txBody>
          <a:bodyPr/>
          <a:lstStyle/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学习总结</a:t>
            </a:r>
            <a:endParaRPr 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6" name="文本框 23">
            <a:extLst>
              <a:ext uri="{FF2B5EF4-FFF2-40B4-BE49-F238E27FC236}">
                <a16:creationId xmlns:a16="http://schemas.microsoft.com/office/drawing/2014/main" id="{C264D033-1236-473A-8710-92222FF71955}"/>
              </a:ext>
            </a:extLst>
          </p:cNvPr>
          <p:cNvSpPr txBox="1"/>
          <p:nvPr/>
        </p:nvSpPr>
        <p:spPr>
          <a:xfrm>
            <a:off x="265371" y="759756"/>
            <a:ext cx="790058" cy="53629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33258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15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91FD4C95-4A35-4986-A123-341B85C1B1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91FD4C95-4A35-4986-A123-341B85C1B1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C4BEF1BE-C90A-41FC-840A-564E1D00FD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908239" y="3078632"/>
            <a:ext cx="6375522" cy="895350"/>
          </a:xfrm>
        </p:spPr>
        <p:txBody>
          <a:bodyPr>
            <a:normAutofit/>
          </a:bodyPr>
          <a:lstStyle/>
          <a:p>
            <a:r>
              <a:rPr lang="zh-CN" altLang="en-US" sz="3200" dirty="0">
                <a:latin typeface="楷体" panose="02010609060101010101" pitchFamily="49" charset="-122"/>
                <a:ea typeface="楷体" panose="02010609060101010101" pitchFamily="49" charset="-122"/>
              </a:rPr>
              <a:t>新年计划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3DD1E421-BF85-430B-B9CB-4C2487A56DC2}"/>
              </a:ext>
            </a:extLst>
          </p:cNvPr>
          <p:cNvSpPr txBox="1"/>
          <p:nvPr/>
        </p:nvSpPr>
        <p:spPr>
          <a:xfrm>
            <a:off x="5584242" y="218872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638821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ageCurlSingle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íṥ1íḑé">
            <a:extLst>
              <a:ext uri="{FF2B5EF4-FFF2-40B4-BE49-F238E27FC236}">
                <a16:creationId xmlns:a16="http://schemas.microsoft.com/office/drawing/2014/main" id="{ACBDF0B1-8CE5-4A2E-B957-D1646A23ED49}"/>
              </a:ext>
            </a:extLst>
          </p:cNvPr>
          <p:cNvSpPr/>
          <p:nvPr/>
        </p:nvSpPr>
        <p:spPr bwMode="auto">
          <a:xfrm>
            <a:off x="773531" y="2149534"/>
            <a:ext cx="4751626" cy="3391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继续学习有关情感分析这一块的论文、资料等</a:t>
            </a:r>
            <a:endParaRPr lang="en-US" altLang="zh-CN" sz="16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加强数学知识的学习</a:t>
            </a:r>
            <a:endParaRPr lang="en-US" altLang="zh-CN" sz="16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继续爬取评论</a:t>
            </a:r>
            <a:endParaRPr lang="en-US" altLang="zh-CN" sz="16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完成毕业论文</a:t>
            </a:r>
            <a:endParaRPr lang="en-US" altLang="zh-CN" sz="16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熟练使用</a:t>
            </a:r>
            <a:r>
              <a:rPr lang="en-US" altLang="zh-CN" sz="1600" dirty="0">
                <a:latin typeface="+mn-ea"/>
              </a:rPr>
              <a:t>Docker</a:t>
            </a: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刷</a:t>
            </a:r>
            <a:r>
              <a:rPr lang="en-US" altLang="zh-CN" sz="1600" dirty="0" err="1">
                <a:latin typeface="+mn-ea"/>
              </a:rPr>
              <a:t>LeetCode</a:t>
            </a:r>
            <a:r>
              <a:rPr lang="zh-CN" altLang="en-US" sz="1600" dirty="0">
                <a:latin typeface="+mn-ea"/>
              </a:rPr>
              <a:t>，掌握常见算法</a:t>
            </a:r>
            <a:endParaRPr lang="en-US" altLang="zh-CN" sz="1600" dirty="0">
              <a:latin typeface="+mn-ea"/>
            </a:endParaRP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掌握</a:t>
            </a:r>
            <a:r>
              <a:rPr lang="en-US" altLang="zh-CN" sz="1600" dirty="0">
                <a:latin typeface="+mn-ea"/>
              </a:rPr>
              <a:t>Python</a:t>
            </a:r>
            <a:r>
              <a:rPr lang="zh-CN" altLang="en-US" sz="1600" dirty="0">
                <a:latin typeface="+mn-ea"/>
              </a:rPr>
              <a:t>高级语法，并精通</a:t>
            </a:r>
            <a:r>
              <a:rPr lang="en-US" altLang="zh-CN" sz="1600" dirty="0">
                <a:latin typeface="+mn-ea"/>
              </a:rPr>
              <a:t>Python</a:t>
            </a:r>
          </a:p>
          <a:p>
            <a:pPr marL="285750" indent="-285750">
              <a:lnSpc>
                <a:spcPct val="130000"/>
              </a:lnSpc>
              <a:buBlip>
                <a:blip r:embed="rId3"/>
              </a:buBlip>
            </a:pPr>
            <a:r>
              <a:rPr lang="zh-CN" altLang="en-US" sz="1600" dirty="0">
                <a:latin typeface="+mn-ea"/>
              </a:rPr>
              <a:t>精通</a:t>
            </a:r>
            <a:r>
              <a:rPr lang="en-US" altLang="zh-CN" sz="1600" dirty="0">
                <a:latin typeface="+mn-ea"/>
              </a:rPr>
              <a:t>Java</a:t>
            </a:r>
            <a:r>
              <a:rPr lang="zh-CN" altLang="en-US" sz="1600" dirty="0">
                <a:latin typeface="+mn-ea"/>
              </a:rPr>
              <a:t>，及</a:t>
            </a:r>
            <a:r>
              <a:rPr lang="en-US" altLang="zh-CN" sz="1600" dirty="0">
                <a:latin typeface="+mn-ea"/>
              </a:rPr>
              <a:t>Spring</a:t>
            </a:r>
            <a:r>
              <a:rPr lang="zh-CN" altLang="en-US" sz="1600" dirty="0">
                <a:latin typeface="+mn-ea"/>
              </a:rPr>
              <a:t>框架</a:t>
            </a:r>
            <a:endParaRPr lang="en-US" altLang="zh-CN" sz="1600" dirty="0">
              <a:latin typeface="+mn-ea"/>
            </a:endParaRPr>
          </a:p>
        </p:txBody>
      </p:sp>
      <p:sp>
        <p:nvSpPr>
          <p:cNvPr id="27" name="ïṣľíḍe">
            <a:extLst>
              <a:ext uri="{FF2B5EF4-FFF2-40B4-BE49-F238E27FC236}">
                <a16:creationId xmlns:a16="http://schemas.microsoft.com/office/drawing/2014/main" id="{4857C6A1-0E42-4ECC-AF5A-528512EE0BC6}"/>
              </a:ext>
            </a:extLst>
          </p:cNvPr>
          <p:cNvSpPr txBox="1"/>
          <p:nvPr/>
        </p:nvSpPr>
        <p:spPr bwMode="auto">
          <a:xfrm>
            <a:off x="773532" y="1736655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/>
              <a:t>计划</a:t>
            </a:r>
            <a:endParaRPr lang="en-US" altLang="zh-CN" sz="20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44AB0CE-39CD-44D8-9CE9-BE0D72FDA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9070" y="365125"/>
            <a:ext cx="10024730" cy="1325563"/>
          </a:xfrm>
        </p:spPr>
        <p:txBody>
          <a:bodyPr/>
          <a:lstStyle/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新年计划</a:t>
            </a:r>
            <a:endParaRPr lang="en-US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1" name="文本框 23">
            <a:extLst>
              <a:ext uri="{FF2B5EF4-FFF2-40B4-BE49-F238E27FC236}">
                <a16:creationId xmlns:a16="http://schemas.microsoft.com/office/drawing/2014/main" id="{B129844B-F8D1-45DF-84F2-952C450B18EA}"/>
              </a:ext>
            </a:extLst>
          </p:cNvPr>
          <p:cNvSpPr txBox="1"/>
          <p:nvPr/>
        </p:nvSpPr>
        <p:spPr>
          <a:xfrm>
            <a:off x="265371" y="759756"/>
            <a:ext cx="790058" cy="53629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91084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1500">
        <p159:morph option="byObject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8D1CB65-F218-4AD3-8485-2B8F483505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8D1CB65-F218-4AD3-8485-2B8F48350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0334B65C-B294-47D3-A9DC-E74A71DFD8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551020" y="2083777"/>
            <a:ext cx="9058924" cy="2008054"/>
          </a:xfrm>
        </p:spPr>
        <p:txBody>
          <a:bodyPr/>
          <a:lstStyle/>
          <a:p>
            <a:r>
              <a:rPr lang="zh-CN" altLang="en-US" sz="4000" dirty="0">
                <a:latin typeface="+mn-ea"/>
                <a:ea typeface="+mn-ea"/>
              </a:rPr>
              <a:t>感谢聆听</a:t>
            </a:r>
            <a:br>
              <a:rPr lang="en-US" altLang="zh-CN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祝大家新年快乐</a:t>
            </a:r>
            <a:r>
              <a:rPr lang="en-US" altLang="zh-CN" sz="4000" dirty="0">
                <a:latin typeface="+mn-ea"/>
                <a:ea typeface="+mn-ea"/>
              </a:rPr>
              <a:t>~</a:t>
            </a:r>
            <a:endParaRPr lang="zh-CN" altLang="en-US" sz="4000" dirty="0">
              <a:latin typeface="+mn-ea"/>
              <a:ea typeface="+mn-ea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CD5889-ECDB-42BC-BCE5-5D2C22ECB8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019/01/1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C9E1689-0884-4392-980B-0484B807D9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张鼎</a:t>
            </a:r>
            <a:endParaRPr lang="en-US" altLang="zh-CN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479D316-0357-4055-B050-8F2EF8C4B84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0386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14:pan dir="u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TfOIFRkGcIbOr3rcE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TfOIFRkGcIbOr3rcE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TfOIFRkGcIbOr3rcE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LlWiAcSTixVA2i6go8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YChf6MRIa7lON_pgbC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lYwuQ8SgmO5UmTfFvE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lYwuQ8SgmO5UmTfFvE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LlWiAcSTixVA2i6go8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3</TotalTime>
  <Words>287</Words>
  <Application>Microsoft Office PowerPoint</Application>
  <PresentationFormat>Widescreen</PresentationFormat>
  <Paragraphs>83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微软雅黑</vt:lpstr>
      <vt:lpstr>楷体</vt:lpstr>
      <vt:lpstr>等线</vt:lpstr>
      <vt:lpstr>等线 Light</vt:lpstr>
      <vt:lpstr>Arial</vt:lpstr>
      <vt:lpstr>Calibri</vt:lpstr>
      <vt:lpstr>Calibri Light</vt:lpstr>
      <vt:lpstr>Impact</vt:lpstr>
      <vt:lpstr>Office Theme</vt:lpstr>
      <vt:lpstr>think-cell Slide</vt:lpstr>
      <vt:lpstr>2018年终汇报</vt:lpstr>
      <vt:lpstr>PowerPoint Presentation</vt:lpstr>
      <vt:lpstr>工作回顾</vt:lpstr>
      <vt:lpstr>工作回顾</vt:lpstr>
      <vt:lpstr>学习总结</vt:lpstr>
      <vt:lpstr>学习总结</vt:lpstr>
      <vt:lpstr>新年计划</vt:lpstr>
      <vt:lpstr>新年计划</vt:lpstr>
      <vt:lpstr>感谢聆听 祝大家新年快乐~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年终汇报</dc:title>
  <dc:creator>Zhang Ding</dc:creator>
  <cp:lastModifiedBy>Zhang Ding</cp:lastModifiedBy>
  <cp:revision>25</cp:revision>
  <dcterms:created xsi:type="dcterms:W3CDTF">2019-01-10T08:15:46Z</dcterms:created>
  <dcterms:modified xsi:type="dcterms:W3CDTF">2019-01-10T13:09:43Z</dcterms:modified>
</cp:coreProperties>
</file>